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heme/theme5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  <p:sldMasterId id="2147493599" r:id="rId6"/>
  </p:sldMasterIdLst>
  <p:notesMasterIdLst>
    <p:notesMasterId r:id="rId9"/>
  </p:notesMasterIdLst>
  <p:handoutMasterIdLst>
    <p:handoutMasterId r:id="rId10"/>
  </p:handoutMasterIdLst>
  <p:sldIdLst>
    <p:sldId id="433" r:id="rId7"/>
    <p:sldId id="434" r:id="rId8"/>
  </p:sldIdLst>
  <p:sldSz cx="9144000" cy="6858000" type="screen4x3"/>
  <p:notesSz cx="7023100" cy="9309100"/>
  <p:custDataLst>
    <p:tags r:id="rId11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ng, Pavel" initials="KP" lastIdx="8" clrIdx="0">
    <p:extLst>
      <p:ext uri="{19B8F6BF-5375-455C-9EA6-DF929625EA0E}">
        <p15:presenceInfo xmlns:p15="http://schemas.microsoft.com/office/powerpoint/2012/main" userId="S-1-5-21-3588447096-1463914-869570945-832978" providerId="AD"/>
      </p:ext>
    </p:extLst>
  </p:cmAuthor>
  <p:cmAuthor id="2" name="Gomola, Alojz" initials="GA" lastIdx="33" clrIdx="1">
    <p:extLst>
      <p:ext uri="{19B8F6BF-5375-455C-9EA6-DF929625EA0E}">
        <p15:presenceInfo xmlns:p15="http://schemas.microsoft.com/office/powerpoint/2012/main" userId="S-1-5-21-3588447096-1463914-869570945-1432209" providerId="AD"/>
      </p:ext>
    </p:extLst>
  </p:cmAuthor>
  <p:cmAuthor id="3" name="Alojz Gomola" initials="AG" lastIdx="3" clrIdx="2">
    <p:extLst>
      <p:ext uri="{19B8F6BF-5375-455C-9EA6-DF929625EA0E}">
        <p15:presenceInfo xmlns:p15="http://schemas.microsoft.com/office/powerpoint/2012/main" userId="f7439ce9bf568963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2819"/>
    <a:srgbClr val="7F7F7F"/>
    <a:srgbClr val="000000"/>
    <a:srgbClr val="EE3124"/>
    <a:srgbClr val="595959"/>
    <a:srgbClr val="E71D1D"/>
    <a:srgbClr val="E42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726" autoAdjust="0"/>
    <p:restoredTop sz="95280" autoAdjust="0"/>
  </p:normalViewPr>
  <p:slideViewPr>
    <p:cSldViewPr snapToGrid="0" snapToObjects="1">
      <p:cViewPr varScale="1">
        <p:scale>
          <a:sx n="110" d="100"/>
          <a:sy n="110" d="100"/>
        </p:scale>
        <p:origin x="1638" y="96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83" d="100"/>
          <a:sy n="83" d="100"/>
        </p:scale>
        <p:origin x="3888" y="7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7.xml"/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57D4563-C991-442D-B3F0-C1A43D578CC3}" type="datetimeFigureOut">
              <a:rPr lang="en-US"/>
              <a:pPr>
                <a:defRPr/>
              </a:pPr>
              <a:t>28-Feb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sz="700" dirty="0">
                <a:solidFill>
                  <a:srgbClr val="7F7F7F"/>
                </a:solidFill>
                <a:latin typeface="Arial" panose="020B0604020202020204" pitchFamily="34" charset="0"/>
              </a:rPr>
              <a:t>Honeywell Intern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D0CD540-90A1-4DF6-948E-FB2F838FE87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6.xml"/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A278FD8-54E5-4C24-8F1E-334DBC98CFA6}" type="datetimeFigureOut">
              <a:rPr lang="en-US"/>
              <a:pPr>
                <a:defRPr/>
              </a:pPr>
              <a:t>28-Feb-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21188"/>
            <a:ext cx="5619750" cy="418941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/>
              <a:t>Honeywell 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7F80455-CF11-4877-AD7A-70AE5CB739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6009007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221095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Subtitle if Neede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220145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Da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6226" y="5959797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er Name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8" y="5928398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8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129894" cy="49861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70C130-3947-5746-9F16-5E7E49C44C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4768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1603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8229600" y="6350000"/>
            <a:ext cx="685800" cy="49181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8E27D68-75D7-1046-B88F-55C44A5ED9A6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2482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ound Single Corner Rectangle 6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3718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 bwMode="auto">
          <a:xfrm flipH="1">
            <a:off x="444500" y="3698875"/>
            <a:ext cx="8215313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69462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432000" y="331304"/>
            <a:ext cx="8346678" cy="52511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5662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75DB8A-71E0-F944-83F6-A83A2D996DB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5316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6324600"/>
            <a:ext cx="9144000" cy="533400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9" name="Round Single Corner Rectangle 8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177800" y="618172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Straight Connector 12"/>
          <p:cNvCxnSpPr/>
          <p:nvPr userDrawn="1"/>
        </p:nvCxnSpPr>
        <p:spPr bwMode="auto">
          <a:xfrm flipH="1">
            <a:off x="444500" y="3579813"/>
            <a:ext cx="8334375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2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44119" y="371062"/>
            <a:ext cx="8290241" cy="48535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buFont typeface="Arial" panose="020B0604020202020204" pitchFamily="34" charset="0"/>
              <a:buChar char="-"/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44119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4702775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8D2DB58E-2992-2040-8E77-3A8E9F68BA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9455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1F74E8-2156-B64F-A723-2FC713503C5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423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 W/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5 by Honeywell International Inc. All rights reserved. 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6929438" y="6350000"/>
            <a:ext cx="1990725" cy="50800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998C0A-3FDF-A343-89AA-469E5F1A16B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5672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002359" cy="49861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14350" y="1074738"/>
            <a:ext cx="8002588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4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814D0C-58DA-754D-96DF-668AE432F1B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5772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60338" y="6364288"/>
            <a:ext cx="8983662" cy="493712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514578" y="344558"/>
            <a:ext cx="8123010" cy="51186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514350" y="1074738"/>
            <a:ext cx="8002588" cy="5059047"/>
          </a:xfrm>
          <a:prstGeom prst="rect">
            <a:avLst/>
          </a:prstGeom>
        </p:spPr>
        <p:txBody>
          <a:bodyPr>
            <a:normAutofit/>
          </a:bodyPr>
          <a:lstStyle>
            <a:lvl2pPr marL="457200" indent="-169863">
              <a:defRPr/>
            </a:lvl2pPr>
            <a:lvl3pPr marL="804863" indent="-177800">
              <a:defRPr/>
            </a:lvl3pPr>
            <a:lvl4pPr marL="1201738" indent="-168275">
              <a:buClr>
                <a:schemeClr val="tx1">
                  <a:lumMod val="50000"/>
                  <a:lumOff val="50000"/>
                </a:schemeClr>
              </a:buClr>
              <a:buFontTx/>
              <a:buChar char="-"/>
              <a:defRPr sz="1400"/>
            </a:lvl4pPr>
            <a:lvl5pPr marL="1719263" indent="-177800">
              <a:buClr>
                <a:schemeClr val="tx1">
                  <a:lumMod val="50000"/>
                  <a:lumOff val="50000"/>
                </a:schemeClr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6A011D3D-470C-6841-80D1-ED00CD69452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432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jpe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tags" Target="../tags/tag2.xml"/><Relationship Id="rId9" Type="http://schemas.openxmlformats.org/officeDocument/2006/relationships/image" Target="../media/image4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Relationship Id="rId14" Type="http://schemas.openxmlformats.org/officeDocument/2006/relationships/image" Target="../media/image11.jp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image" Target="../media/image11.jpg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image" Target="file:///\\localhost\Volumes\DMS-Server\Clients\Honeywell%20PPT%20\Honeywell%20-%20Freestanding%20Logos\Honeywell%20-%20Freestanding%20Logo%20RGB.png" TargetMode="External"/><Relationship Id="rId5" Type="http://schemas.openxmlformats.org/officeDocument/2006/relationships/slideLayout" Target="../slideLayouts/slideLayout12.xml"/><Relationship Id="rId10" Type="http://schemas.openxmlformats.org/officeDocument/2006/relationships/image" Target="../media/image13.png"/><Relationship Id="rId4" Type="http://schemas.openxmlformats.org/officeDocument/2006/relationships/slideLayout" Target="../slideLayouts/slideLayout11.xml"/><Relationship Id="rId9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5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0755" y="6042317"/>
            <a:ext cx="1504536" cy="434925"/>
          </a:xfrm>
          <a:prstGeom prst="rect">
            <a:avLst/>
          </a:prstGeom>
        </p:spPr>
      </p:pic>
      <p:pic>
        <p:nvPicPr>
          <p:cNvPr id="15" name="Picture 5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01" t="8743" r="4581"/>
          <a:stretch>
            <a:fillRect/>
          </a:stretch>
        </p:blipFill>
        <p:spPr bwMode="auto">
          <a:xfrm>
            <a:off x="1" y="-28514"/>
            <a:ext cx="3481388" cy="5684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8264" y="1973265"/>
            <a:ext cx="2733675" cy="3665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3464" y="-7938"/>
            <a:ext cx="5570537" cy="1905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3463" y="2021816"/>
            <a:ext cx="2749627" cy="1902822"/>
          </a:xfrm>
          <a:prstGeom prst="rect">
            <a:avLst/>
          </a:prstGeom>
        </p:spPr>
      </p:pic>
      <p:pic>
        <p:nvPicPr>
          <p:cNvPr id="26" name="Picture 25" descr="494348113_low.jpg"/>
          <p:cNvPicPr>
            <a:picLocks noChangeAspect="1"/>
          </p:cNvPicPr>
          <p:nvPr userDrawn="1"/>
        </p:nvPicPr>
        <p:blipFill>
          <a:blip r:embed="rId13" cstate="screen"/>
          <a:srcRect/>
          <a:stretch>
            <a:fillRect/>
          </a:stretch>
        </p:blipFill>
        <p:spPr>
          <a:xfrm>
            <a:off x="3573464" y="4052744"/>
            <a:ext cx="2751136" cy="1587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7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2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9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 Single Corner Rectangle 1"/>
          <p:cNvSpPr>
            <a:spLocks noChangeAspect="1"/>
          </p:cNvSpPr>
          <p:nvPr/>
        </p:nvSpPr>
        <p:spPr>
          <a:xfrm rot="5400000">
            <a:off x="7772400" y="0"/>
            <a:ext cx="1371600" cy="1371542"/>
          </a:xfrm>
          <a:custGeom>
            <a:avLst/>
            <a:gdLst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1371600 w 1371600"/>
              <a:gd name="connsiteY3" fmla="*/ 1532236 h 1532236"/>
              <a:gd name="connsiteX4" fmla="*/ 0 w 1371600"/>
              <a:gd name="connsiteY4" fmla="*/ 1532236 h 1532236"/>
              <a:gd name="connsiteX5" fmla="*/ 0 w 1371600"/>
              <a:gd name="connsiteY5" fmla="*/ 0 h 1532236"/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0 w 1371600"/>
              <a:gd name="connsiteY3" fmla="*/ 1532236 h 1532236"/>
              <a:gd name="connsiteX4" fmla="*/ 0 w 1371600"/>
              <a:gd name="connsiteY4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8 h 1532244"/>
              <a:gd name="connsiteX1" fmla="*/ 1142995 w 1142995"/>
              <a:gd name="connsiteY1" fmla="*/ 8 h 1532244"/>
              <a:gd name="connsiteX2" fmla="*/ 0 w 1142995"/>
              <a:gd name="connsiteY2" fmla="*/ 1532244 h 1532244"/>
              <a:gd name="connsiteX3" fmla="*/ 0 w 1142995"/>
              <a:gd name="connsiteY3" fmla="*/ 8 h 1532244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4012 w 1147007"/>
              <a:gd name="connsiteY0" fmla="*/ 9 h 1532245"/>
              <a:gd name="connsiteX1" fmla="*/ 1147007 w 1147007"/>
              <a:gd name="connsiteY1" fmla="*/ 9 h 1532245"/>
              <a:gd name="connsiteX2" fmla="*/ 4012 w 1147007"/>
              <a:gd name="connsiteY2" fmla="*/ 1532245 h 1532245"/>
              <a:gd name="connsiteX3" fmla="*/ 4012 w 1147007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76 h 1532312"/>
              <a:gd name="connsiteX1" fmla="*/ 1142995 w 1142995"/>
              <a:gd name="connsiteY1" fmla="*/ 76 h 1532312"/>
              <a:gd name="connsiteX2" fmla="*/ 0 w 1142995"/>
              <a:gd name="connsiteY2" fmla="*/ 1532312 h 1532312"/>
              <a:gd name="connsiteX3" fmla="*/ 0 w 1142995"/>
              <a:gd name="connsiteY3" fmla="*/ 76 h 1532312"/>
              <a:gd name="connsiteX0" fmla="*/ 0 w 1142995"/>
              <a:gd name="connsiteY0" fmla="*/ 83 h 1532319"/>
              <a:gd name="connsiteX1" fmla="*/ 1142995 w 1142995"/>
              <a:gd name="connsiteY1" fmla="*/ 83 h 1532319"/>
              <a:gd name="connsiteX2" fmla="*/ 0 w 1142995"/>
              <a:gd name="connsiteY2" fmla="*/ 1532319 h 1532319"/>
              <a:gd name="connsiteX3" fmla="*/ 0 w 1142995"/>
              <a:gd name="connsiteY3" fmla="*/ 83 h 1532319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2995" h="1532236">
                <a:moveTo>
                  <a:pt x="0" y="0"/>
                </a:moveTo>
                <a:lnTo>
                  <a:pt x="1142995" y="0"/>
                </a:lnTo>
                <a:cubicBezTo>
                  <a:pt x="511969" y="21249"/>
                  <a:pt x="3930" y="739945"/>
                  <a:pt x="0" y="1532236"/>
                </a:cubicBezTo>
                <a:cubicBezTo>
                  <a:pt x="4519" y="403311"/>
                  <a:pt x="0" y="510745"/>
                  <a:pt x="0" y="0"/>
                </a:cubicBezTo>
                <a:close/>
              </a:path>
            </a:pathLst>
          </a:custGeom>
          <a:solidFill>
            <a:schemeClr val="accent3"/>
          </a:solidFill>
          <a:ln w="9525" cmpd="sng">
            <a:noFill/>
          </a:ln>
          <a:effectLst>
            <a:innerShdw blurRad="127000" dist="25400" dir="2700000">
              <a:schemeClr val="accent3">
                <a:lumMod val="50000"/>
                <a:alpha val="40000"/>
              </a:scheme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3075" name="Title Placeholder 1"/>
          <p:cNvSpPr>
            <a:spLocks noGrp="1"/>
          </p:cNvSpPr>
          <p:nvPr>
            <p:ph type="title"/>
          </p:nvPr>
        </p:nvSpPr>
        <p:spPr bwMode="auto">
          <a:xfrm>
            <a:off x="534988" y="357188"/>
            <a:ext cx="810260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076" name="Rectangle 23"/>
          <p:cNvSpPr>
            <a:spLocks noChangeArrowheads="1"/>
          </p:cNvSpPr>
          <p:nvPr/>
        </p:nvSpPr>
        <p:spPr bwMode="auto">
          <a:xfrm>
            <a:off x="-71774" y="6505789"/>
            <a:ext cx="7032694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accent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4425" y="-28575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58E27D68-75D7-1046-B88F-55C44A5ED9A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3078" name="Picture 10" descr="\\localhost\Volumes\DMS-Server\Clients\Honeywell PPT \Honeywell - Freestanding Logos\Honeywell - Freestanding Logo RGB.png"/>
          <p:cNvPicPr>
            <a:picLocks noChangeAspect="1"/>
          </p:cNvPicPr>
          <p:nvPr/>
        </p:nvPicPr>
        <p:blipFill>
          <a:blip r:embed="rId10" r:link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1450" y="6519863"/>
            <a:ext cx="103187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3"/>
            <a:ext cx="1251554" cy="328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453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600" r:id="rId1"/>
    <p:sldLayoutId id="2147493601" r:id="rId2"/>
    <p:sldLayoutId id="2147493602" r:id="rId3"/>
    <p:sldLayoutId id="2147493603" r:id="rId4"/>
    <p:sldLayoutId id="2147493604" r:id="rId5"/>
    <p:sldLayoutId id="2147493605" r:id="rId6"/>
    <p:sldLayoutId id="2147493606" r:id="rId7"/>
    <p:sldLayoutId id="2147493607" r:id="rId8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800" b="1" kern="1200" dirty="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6588BC-4944-4B47-AE23-F05B6CE4E1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1D31553-C5DB-4BB8-B191-D51EDED36E6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Sense &amp; Avoid introduction:</a:t>
            </a:r>
          </a:p>
          <a:p>
            <a:r>
              <a:rPr lang="en-US" dirty="0"/>
              <a:t>Context of SAA</a:t>
            </a:r>
          </a:p>
          <a:p>
            <a:r>
              <a:rPr lang="en-US" dirty="0"/>
              <a:t>Actors</a:t>
            </a:r>
          </a:p>
          <a:p>
            <a:r>
              <a:rPr lang="en-US" dirty="0"/>
              <a:t>Reactive Obstacle Avoidance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i="1" u="sng" dirty="0"/>
              <a:t>Problems in Detect &amp; Avoid:</a:t>
            </a:r>
          </a:p>
          <a:p>
            <a:r>
              <a:rPr lang="en-US" dirty="0"/>
              <a:t>How to get into fine restaurant</a:t>
            </a:r>
          </a:p>
          <a:p>
            <a:r>
              <a:rPr lang="en-US" dirty="0"/>
              <a:t>Incremental problem definition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i="1" u="sng" dirty="0"/>
              <a:t>Related work:</a:t>
            </a:r>
          </a:p>
          <a:p>
            <a:r>
              <a:rPr lang="en-US" dirty="0"/>
              <a:t>Movement Automaton</a:t>
            </a:r>
          </a:p>
          <a:p>
            <a:r>
              <a:rPr lang="en-US" dirty="0"/>
              <a:t>Surveillance</a:t>
            </a:r>
          </a:p>
          <a:p>
            <a:r>
              <a:rPr lang="en-US" dirty="0"/>
              <a:t>Navigation</a:t>
            </a:r>
          </a:p>
          <a:p>
            <a:r>
              <a:rPr lang="en-US" dirty="0"/>
              <a:t>Reach set estima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0CF532-BA97-4124-A199-38EA2732F7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Proposed framework:</a:t>
            </a:r>
          </a:p>
          <a:p>
            <a:r>
              <a:rPr lang="en-US" dirty="0"/>
              <a:t>Overview</a:t>
            </a:r>
          </a:p>
          <a:p>
            <a:r>
              <a:rPr lang="en-US" dirty="0"/>
              <a:t>Avoidance Run </a:t>
            </a:r>
          </a:p>
          <a:p>
            <a:r>
              <a:rPr lang="en-US" dirty="0"/>
              <a:t>UTM Implementation</a:t>
            </a:r>
          </a:p>
          <a:p>
            <a:r>
              <a:rPr lang="en-US" dirty="0"/>
              <a:t>Rule Engine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i="1" u="sng" dirty="0"/>
              <a:t>Simulations:</a:t>
            </a:r>
          </a:p>
          <a:p>
            <a:r>
              <a:rPr lang="en-US" dirty="0"/>
              <a:t>Test Plan</a:t>
            </a:r>
          </a:p>
          <a:p>
            <a:r>
              <a:rPr lang="en-US" dirty="0"/>
              <a:t>Obstacle avoidance</a:t>
            </a:r>
          </a:p>
          <a:p>
            <a:r>
              <a:rPr lang="en-US" dirty="0"/>
              <a:t>Weather avoidance</a:t>
            </a:r>
          </a:p>
          <a:p>
            <a:r>
              <a:rPr lang="en-US" dirty="0"/>
              <a:t>Rules of the Air</a:t>
            </a:r>
          </a:p>
          <a:p>
            <a:r>
              <a:rPr lang="en-US" dirty="0"/>
              <a:t>Cooperative vs. Noncooperative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i="1" u="sng" dirty="0" err="1"/>
              <a:t>Colclusion</a:t>
            </a:r>
            <a:endParaRPr lang="en-US" i="1" u="sng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2AFAD75-594A-4EAA-8F0B-C26E5CD4B22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B570C130-3947-5746-9F16-5E7E49C44C45}" type="slidenum">
              <a:rPr lang="en-US" smtClean="0"/>
              <a:pPr>
                <a:defRPr/>
              </a:pPr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7448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A9B96B-F03C-4682-874C-80372816E7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56984C-6C09-43A3-9B94-3414880A11C7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Contributions:</a:t>
            </a:r>
          </a:p>
          <a:p>
            <a:r>
              <a:rPr lang="en-US" dirty="0"/>
              <a:t>Reach Set Approximation methods</a:t>
            </a:r>
          </a:p>
          <a:p>
            <a:r>
              <a:rPr lang="en-US" dirty="0"/>
              <a:t>Scalable navigation algorithm</a:t>
            </a:r>
          </a:p>
          <a:p>
            <a:r>
              <a:rPr lang="en-US" dirty="0"/>
              <a:t>Portable D&amp;A solution</a:t>
            </a:r>
          </a:p>
          <a:p>
            <a:endParaRPr lang="en-US" dirty="0"/>
          </a:p>
          <a:p>
            <a:r>
              <a:rPr lang="en-US" dirty="0"/>
              <a:t>UTM services for phase II. &amp; III.</a:t>
            </a:r>
          </a:p>
          <a:p>
            <a:r>
              <a:rPr lang="en-US" dirty="0"/>
              <a:t>Set of test scenarios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63A3ED-33C6-4186-8C29-1F13D7F2A81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DC38E4B-4920-461A-864C-9C297752467F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Reach Set Approximation:</a:t>
            </a:r>
          </a:p>
          <a:p>
            <a:r>
              <a:rPr lang="en-US" dirty="0"/>
              <a:t>Reach set approximated as </a:t>
            </a:r>
            <a:br>
              <a:rPr lang="en-US" dirty="0"/>
            </a:br>
            <a:r>
              <a:rPr lang="en-US" i="1" u="sng" dirty="0"/>
              <a:t>a set of discrete trajectories</a:t>
            </a:r>
          </a:p>
          <a:p>
            <a:r>
              <a:rPr lang="en-US" dirty="0"/>
              <a:t>Relationship between trajectories and operational space - </a:t>
            </a:r>
            <a:r>
              <a:rPr lang="en-US" i="1" u="sng" dirty="0"/>
              <a:t>coverage</a:t>
            </a:r>
          </a:p>
          <a:p>
            <a:r>
              <a:rPr lang="en-US" dirty="0"/>
              <a:t>Minimal reach set representation</a:t>
            </a:r>
          </a:p>
          <a:p>
            <a:r>
              <a:rPr lang="en-US" dirty="0"/>
              <a:t>Behavior encoded in Reach set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5D75739-EB5A-4F1E-A3CD-92DD4569462F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Approach avoidance capabilities:</a:t>
            </a:r>
          </a:p>
          <a:p>
            <a:r>
              <a:rPr lang="en-US" dirty="0"/>
              <a:t>Static obstacles a</a:t>
            </a:r>
          </a:p>
          <a:p>
            <a:r>
              <a:rPr lang="en-US" dirty="0"/>
              <a:t>(Non-)cooperative intruders</a:t>
            </a:r>
          </a:p>
          <a:p>
            <a:r>
              <a:rPr lang="en-US" dirty="0"/>
              <a:t>Geo-fenced areas</a:t>
            </a:r>
          </a:p>
          <a:p>
            <a:r>
              <a:rPr lang="en-US" dirty="0"/>
              <a:t>Weather threats</a:t>
            </a:r>
          </a:p>
          <a:p>
            <a:endParaRPr lang="en-US" dirty="0"/>
          </a:p>
          <a:p>
            <a:r>
              <a:rPr lang="en-US" dirty="0"/>
              <a:t>UTM Resolutions (Rule engine)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1FFDA19D-8D31-4199-9261-0D05BFD34BB2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Approach reusability/portability:</a:t>
            </a:r>
          </a:p>
          <a:p>
            <a:r>
              <a:rPr lang="en-US" dirty="0"/>
              <a:t>Abstract data fusion procedure</a:t>
            </a:r>
          </a:p>
          <a:p>
            <a:r>
              <a:rPr lang="en-US" dirty="0"/>
              <a:t>Control interface as discrete command chain (movements)</a:t>
            </a:r>
          </a:p>
          <a:p>
            <a:endParaRPr lang="en-US" dirty="0"/>
          </a:p>
          <a:p>
            <a:r>
              <a:rPr lang="en-US" dirty="0"/>
              <a:t>Events &amp; decision making</a:t>
            </a:r>
          </a:p>
          <a:p>
            <a:r>
              <a:rPr lang="en-US"/>
              <a:t>UTM services defini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6844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1_Honeywell Theme">
  <a:themeElements>
    <a:clrScheme name="Honeywell Branded Colors">
      <a:dk1>
        <a:srgbClr val="000000"/>
      </a:dk1>
      <a:lt1>
        <a:srgbClr val="FFFFFF"/>
      </a:lt1>
      <a:dk2>
        <a:srgbClr val="E1261C"/>
      </a:dk2>
      <a:lt2>
        <a:srgbClr val="FFFFFF"/>
      </a:lt2>
      <a:accent1>
        <a:srgbClr val="000000"/>
      </a:accent1>
      <a:accent2>
        <a:srgbClr val="707070"/>
      </a:accent2>
      <a:accent3>
        <a:srgbClr val="E1261C"/>
      </a:accent3>
      <a:accent4>
        <a:srgbClr val="F37021"/>
      </a:accent4>
      <a:accent5>
        <a:srgbClr val="FFC627"/>
      </a:accent5>
      <a:accent6>
        <a:srgbClr val="1792E5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9525" cmpd="sng"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 V3.potx" id="{072A8F60-D587-4413-B71E-E25EEABC022A}" vid="{34FDE730-04EA-4F4E-A193-E4B89531D624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
</file>

<file path=customXml/item3.xml><?xml version="1.0" encoding="utf-8"?>
<p:properties xmlns:p="http://schemas.microsoft.com/office/2006/metadata/properties" xmlns:xsi="http://www.w3.org/2001/XMLSchema-instance">
  <documentManagement/>
</p:properties>
</file>

<file path=customXml/itemProps1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customXml/itemProps3.xml><?xml version="1.0" encoding="utf-8"?>
<ds:datastoreItem xmlns:ds="http://schemas.openxmlformats.org/officeDocument/2006/customXml" ds:itemID="{D0C9905A-CBD0-4539-91F7-7758145DCB1F}">
  <ds:schemaRefs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purl.org/dc/elements/1.1/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4275</TotalTime>
  <Words>150</Words>
  <Application>Microsoft Office PowerPoint</Application>
  <PresentationFormat>On-screen Show (4:3)</PresentationFormat>
  <Paragraphs>57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4" baseType="lpstr">
      <vt:lpstr>Arial</vt:lpstr>
      <vt:lpstr>Calibri</vt:lpstr>
      <vt:lpstr>Courier New</vt:lpstr>
      <vt:lpstr>Helvetica 55 Roman</vt:lpstr>
      <vt:lpstr>Helvetica Neue</vt:lpstr>
      <vt:lpstr>HelveticaNeue BoldCond</vt:lpstr>
      <vt:lpstr>HelveticaNeue MediumCond</vt:lpstr>
      <vt:lpstr>Wingdings</vt:lpstr>
      <vt:lpstr>2_HON_Honeywell PPT Template V44 potx</vt:lpstr>
      <vt:lpstr>Honeywell Theme</vt:lpstr>
      <vt:lpstr>1_Honeywell Theme</vt:lpstr>
      <vt:lpstr>think-cell Slide</vt:lpstr>
      <vt:lpstr>Overview</vt:lpstr>
      <vt:lpstr>Conclus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Alojz Gomola</cp:lastModifiedBy>
  <cp:revision>326</cp:revision>
  <cp:lastPrinted>2015-07-29T21:30:37Z</cp:lastPrinted>
  <dcterms:created xsi:type="dcterms:W3CDTF">2017-09-21T08:49:16Z</dcterms:created>
  <dcterms:modified xsi:type="dcterms:W3CDTF">2019-02-28T15:12:21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